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168"/>
      </p:cViewPr>
      <p:guideLst>
        <p:guide orient="horz" pos="2341"/>
        <p:guide pos="3659"/>
      </p:guideLst>
    </p:cSldViewPr>
  </p:slideViewPr>
  <p:outlineViewPr>
    <p:cViewPr>
      <p:scale>
        <a:sx n="33" d="100"/>
        <a:sy n="33" d="100"/>
      </p:scale>
      <p:origin x="0" y="0"/>
    </p:cViewPr>
  </p:outlineViewPr>
  <p:notesTextViewPr>
    <p:cViewPr>
      <p:scale>
        <a:sx n="3" d="2"/>
        <a:sy n="3" d="2"/>
      </p:scale>
      <p:origin x="0" y="-16"/>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kula, Ajay" userId="4a3a66ed-f01e-4c91-a24f-333c294065f2" providerId="ADAL" clId="{63C4AB67-9EFE-422C-9CF2-0111F21F559F}"/>
    <pc:docChg chg="undo custSel modSld">
      <pc:chgData name="Akula, Ajay" userId="4a3a66ed-f01e-4c91-a24f-333c294065f2" providerId="ADAL" clId="{63C4AB67-9EFE-422C-9CF2-0111F21F559F}" dt="2022-08-03T05:41:12.664" v="159" actId="20577"/>
      <pc:docMkLst>
        <pc:docMk/>
      </pc:docMkLst>
      <pc:sldChg chg="addSp delSp modSp mod">
        <pc:chgData name="Akula, Ajay" userId="4a3a66ed-f01e-4c91-a24f-333c294065f2" providerId="ADAL" clId="{63C4AB67-9EFE-422C-9CF2-0111F21F559F}" dt="2022-08-03T05:41:12.664" v="159" actId="20577"/>
        <pc:sldMkLst>
          <pc:docMk/>
          <pc:sldMk cId="0" sldId="1989"/>
        </pc:sldMkLst>
        <pc:spChg chg="mod">
          <ac:chgData name="Akula, Ajay" userId="4a3a66ed-f01e-4c91-a24f-333c294065f2" providerId="ADAL" clId="{63C4AB67-9EFE-422C-9CF2-0111F21F559F}" dt="2022-08-03T05:40:25.763" v="158" actId="1076"/>
          <ac:spMkLst>
            <pc:docMk/>
            <pc:sldMk cId="0" sldId="1989"/>
            <ac:spMk id="7170" creationId="{00000000-0000-0000-0000-000000000000}"/>
          </ac:spMkLst>
        </pc:spChg>
        <pc:spChg chg="mod">
          <ac:chgData name="Akula, Ajay" userId="4a3a66ed-f01e-4c91-a24f-333c294065f2" providerId="ADAL" clId="{63C4AB67-9EFE-422C-9CF2-0111F21F559F}" dt="2022-08-03T05:41:12.664" v="159" actId="20577"/>
          <ac:spMkLst>
            <pc:docMk/>
            <pc:sldMk cId="0" sldId="1989"/>
            <ac:spMk id="7175" creationId="{00000000-0000-0000-0000-000000000000}"/>
          </ac:spMkLst>
        </pc:spChg>
        <pc:graphicFrameChg chg="add del mod modGraphic">
          <ac:chgData name="Akula, Ajay" userId="4a3a66ed-f01e-4c91-a24f-333c294065f2" providerId="ADAL" clId="{63C4AB67-9EFE-422C-9CF2-0111F21F559F}" dt="2022-07-20T06:53:50.704" v="157" actId="14100"/>
          <ac:graphicFrameMkLst>
            <pc:docMk/>
            <pc:sldMk cId="0" sldId="1989"/>
            <ac:graphicFrameMk id="2" creationId="{00000000-0000-0000-0000-000000000000}"/>
          </ac:graphicFrameMkLst>
        </pc:graphicFrameChg>
      </pc:sldChg>
    </pc:docChg>
  </pc:docChgLst>
  <pc:docChgLst>
    <pc:chgData name="Akula, Ajay" userId="4a3a66ed-f01e-4c91-a24f-333c294065f2" providerId="ADAL" clId="{6C0D1727-5D5C-46CB-8274-400B5EA9719F}"/>
    <pc:docChg chg="modSld">
      <pc:chgData name="Akula, Ajay" userId="4a3a66ed-f01e-4c91-a24f-333c294065f2" providerId="ADAL" clId="{6C0D1727-5D5C-46CB-8274-400B5EA9719F}" dt="2022-09-27T12:31:24.075" v="26" actId="14100"/>
      <pc:docMkLst>
        <pc:docMk/>
      </pc:docMkLst>
      <pc:sldChg chg="modSp mod">
        <pc:chgData name="Akula, Ajay" userId="4a3a66ed-f01e-4c91-a24f-333c294065f2" providerId="ADAL" clId="{6C0D1727-5D5C-46CB-8274-400B5EA9719F}" dt="2022-09-27T12:31:24.075" v="26" actId="14100"/>
        <pc:sldMkLst>
          <pc:docMk/>
          <pc:sldMk cId="0" sldId="1989"/>
        </pc:sldMkLst>
        <pc:spChg chg="mod">
          <ac:chgData name="Akula, Ajay" userId="4a3a66ed-f01e-4c91-a24f-333c294065f2" providerId="ADAL" clId="{6C0D1727-5D5C-46CB-8274-400B5EA9719F}" dt="2022-09-27T12:30:59.130" v="25" actId="20577"/>
          <ac:spMkLst>
            <pc:docMk/>
            <pc:sldMk cId="0" sldId="1989"/>
            <ac:spMk id="7175" creationId="{00000000-0000-0000-0000-000000000000}"/>
          </ac:spMkLst>
        </pc:spChg>
        <pc:graphicFrameChg chg="mod modGraphic">
          <ac:chgData name="Akula, Ajay" userId="4a3a66ed-f01e-4c91-a24f-333c294065f2" providerId="ADAL" clId="{6C0D1727-5D5C-46CB-8274-400B5EA9719F}" dt="2022-09-27T12:31:24.075" v="26" actId="14100"/>
          <ac:graphicFrameMkLst>
            <pc:docMk/>
            <pc:sldMk cId="0" sldId="1989"/>
            <ac:graphicFrameMk id="2"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7/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7/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ajayakula123?tab=repositories"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wJugEI2c69" TargetMode="Externa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928805526"/>
              </p:ext>
            </p:extLst>
          </p:nvPr>
        </p:nvGraphicFramePr>
        <p:xfrm>
          <a:off x="9350339" y="1184910"/>
          <a:ext cx="2819400" cy="6350710"/>
        </p:xfrm>
        <a:graphic>
          <a:graphicData uri="http://schemas.openxmlformats.org/drawingml/2006/table">
            <a:tbl>
              <a:tblPr firstRow="1" bandRow="1">
                <a:tableStyleId>{0E3FDE45-AF77-4B5C-9715-49D594BDF05E}</a:tableStyleId>
              </a:tblPr>
              <a:tblGrid>
                <a:gridCol w="1094105">
                  <a:extLst>
                    <a:ext uri="{9D8B030D-6E8A-4147-A177-3AD203B41FA5}">
                      <a16:colId xmlns:a16="http://schemas.microsoft.com/office/drawing/2014/main" val="20000"/>
                    </a:ext>
                  </a:extLst>
                </a:gridCol>
                <a:gridCol w="1725295">
                  <a:extLst>
                    <a:ext uri="{9D8B030D-6E8A-4147-A177-3AD203B41FA5}">
                      <a16:colId xmlns:a16="http://schemas.microsoft.com/office/drawing/2014/main" val="20001"/>
                    </a:ext>
                  </a:extLst>
                </a:gridCol>
              </a:tblGrid>
              <a:tr h="1077391">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alesforce</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Mulesof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2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570384">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570384">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21816">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70384">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681291">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68129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253504">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ta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p>
                  </a:txBody>
                  <a:tcPr/>
                </a:tc>
                <a:extLst>
                  <a:ext uri="{0D108BD9-81ED-4DB2-BD59-A6C34878D82A}">
                    <a16:rowId xmlns:a16="http://schemas.microsoft.com/office/drawing/2014/main" val="10005"/>
                  </a:ext>
                </a:extLst>
              </a:tr>
              <a:tr h="681291">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6441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22449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2181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23225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732482" y="2975934"/>
            <a:ext cx="4008437" cy="2932738"/>
          </a:xfrm>
        </p:spPr>
        <p:txBody>
          <a:bodyPr/>
          <a:lstStyle/>
          <a:p>
            <a:pPr>
              <a:lnSpc>
                <a:spcPct val="114000"/>
              </a:lnSpc>
            </a:pPr>
            <a:r>
              <a:rPr lang="en-US" altLang="en-US" b="1" dirty="0"/>
              <a:t>Online Hotel Management System </a:t>
            </a:r>
            <a:r>
              <a:rPr lang="en-US" altLang="en-US" dirty="0"/>
              <a:t>[</a:t>
            </a:r>
            <a:r>
              <a:rPr lang="en-IN" altLang="en-US" dirty="0">
                <a:solidFill>
                  <a:prstClr val="black"/>
                </a:solidFill>
                <a:latin typeface="Verdana" panose="020B0604030504040204" pitchFamily="34" charset="0"/>
              </a:rPr>
              <a:t> Video Profile]</a:t>
            </a:r>
            <a:endParaRPr lang="en-US" altLang="en-US" b="1" dirty="0"/>
          </a:p>
          <a:p>
            <a:pPr eaLnBrk="1" hangingPunct="1">
              <a:lnSpc>
                <a:spcPct val="114000"/>
              </a:lnSpc>
            </a:pPr>
            <a:r>
              <a:rPr lang="en-US" altLang="en-US" b="1" dirty="0"/>
              <a:t> </a:t>
            </a:r>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html,css,  sql </a:t>
            </a: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00400" y="1579821"/>
            <a:ext cx="4648200" cy="339525"/>
          </a:xfrm>
        </p:spPr>
        <p:txBody>
          <a:bodyPr/>
          <a:lstStyle/>
          <a:p>
            <a:pPr eaLnBrk="1" hangingPunct="1"/>
            <a:r>
              <a:rPr lang="en-US" altLang="nl-NL" dirty="0">
                <a:solidFill>
                  <a:schemeClr val="accent2">
                    <a:lumMod val="60000"/>
                    <a:lumOff val="40000"/>
                  </a:schemeClr>
                </a:solidFill>
              </a:rPr>
              <a:t>Ajay.Akula@capgemini.com</a:t>
            </a:r>
            <a:r>
              <a:rPr lang="nl-NL" altLang="nl-NL" dirty="0"/>
              <a:t> </a:t>
            </a:r>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9705204820</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endParaRPr lang="en-US" b="1" dirty="0"/>
          </a:p>
          <a:p>
            <a:r>
              <a:rPr lang="en-IN" sz="1400" dirty="0">
                <a:solidFill>
                  <a:srgbClr val="242424"/>
                </a:solidFill>
                <a:effectLst/>
                <a:latin typeface="-apple-system"/>
              </a:rPr>
              <a:t>• Certified with Microsoft Azur Fundamentals    and Azure Administrator.</a:t>
            </a:r>
            <a:endParaRPr lang="en-US" sz="1400" b="1" dirty="0"/>
          </a:p>
          <a:p>
            <a:endParaRPr lang="en-US" altLang="nl-NL" sz="1400"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Akula Ajay</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568231" y="6289335"/>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lang="en-US" altLang="nl-NL" sz="1000" dirty="0">
                <a:solidFill>
                  <a:prstClr val="black"/>
                </a:solidFill>
                <a:latin typeface="Verdana" panose="020B0604030504040204" pitchFamily="34" charset="0"/>
              </a:rPr>
              <a:t>Master of Computer Application</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Bangalore</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313" y="113363"/>
            <a:ext cx="1502382" cy="1897983"/>
          </a:xfrm>
          <a:prstGeom prst="rect">
            <a:avLst/>
          </a:prstGeom>
        </p:spPr>
      </p:pic>
      <p:pic>
        <p:nvPicPr>
          <p:cNvPr id="16"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35963" y="2819108"/>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77</TotalTime>
  <Words>256</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pple-system</vt: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Akula, Ajay</cp:lastModifiedBy>
  <cp:revision>134</cp:revision>
  <dcterms:created xsi:type="dcterms:W3CDTF">2020-09-22T06:24:00Z</dcterms:created>
  <dcterms:modified xsi:type="dcterms:W3CDTF">2022-09-27T12: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